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3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Weigel Stefan (PAR-EPS)" userId="fd3b2067-2981-4ad8-bf3a-d2e1004e4fa8" providerId="ADAL" clId="{8C021AA3-F101-48AD-A8CF-554801ACB00F}"/>
    <pc:docChg chg="modSld">
      <pc:chgData name="Weigel Stefan (PAR-EPS)" userId="fd3b2067-2981-4ad8-bf3a-d2e1004e4fa8" providerId="ADAL" clId="{8C021AA3-F101-48AD-A8CF-554801ACB00F}" dt="2024-02-02T09:40:23.281" v="58" actId="27918"/>
      <pc:docMkLst>
        <pc:docMk/>
      </pc:docMkLst>
      <pc:sldChg chg="modSp mod">
        <pc:chgData name="Weigel Stefan (PAR-EPS)" userId="fd3b2067-2981-4ad8-bf3a-d2e1004e4fa8" providerId="ADAL" clId="{8C021AA3-F101-48AD-A8CF-554801ACB00F}" dt="2024-02-02T09:40:23.281" v="58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8C021AA3-F101-48AD-A8CF-554801ACB00F}" dt="2024-02-02T09:11:57.019" v="41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C021AA3-F101-48AD-A8CF-554801ACB00F}" dt="2024-02-02T09:12:06.567" v="48" actId="20577"/>
          <ac:spMkLst>
            <pc:docMk/>
            <pc:sldMk cId="3064315074" sldId="413"/>
            <ac:spMk id="11" creationId="{51A102DA-4F4E-474F-9E16-1E7F70764A16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PS)" userId="fd3b2067-2981-4ad8-bf3a-d2e1004e4fa8" providerId="ADAL" clId="{12AB7024-58E6-498F-A5B7-4B04E7DB4731}"/>
    <pc:docChg chg="modSld">
      <pc:chgData name="Weigel Stefan (PAR-EPS)" userId="fd3b2067-2981-4ad8-bf3a-d2e1004e4fa8" providerId="ADAL" clId="{12AB7024-58E6-498F-A5B7-4B04E7DB4731}" dt="2024-02-13T15:49:11.405" v="26" actId="20577"/>
      <pc:docMkLst>
        <pc:docMk/>
      </pc:docMkLst>
      <pc:sldChg chg="modSp mod">
        <pc:chgData name="Weigel Stefan (PAR-EPS)" userId="fd3b2067-2981-4ad8-bf3a-d2e1004e4fa8" providerId="ADAL" clId="{12AB7024-58E6-498F-A5B7-4B04E7DB4731}" dt="2024-02-13T15:49:11.405" v="26" actId="20577"/>
        <pc:sldMkLst>
          <pc:docMk/>
          <pc:sldMk cId="3064315074" sldId="413"/>
        </pc:sldMkLst>
        <pc:spChg chg="mod">
          <ac:chgData name="Weigel Stefan (PAR-EPS)" userId="fd3b2067-2981-4ad8-bf3a-d2e1004e4fa8" providerId="ADAL" clId="{12AB7024-58E6-498F-A5B7-4B04E7DB4731}" dt="2024-02-02T10:31:28.045" v="2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12AB7024-58E6-498F-A5B7-4B04E7DB4731}" dt="2024-02-13T15:49:11.405" v="26" actId="20577"/>
          <ac:spMkLst>
            <pc:docMk/>
            <pc:sldMk cId="3064315074" sldId="413"/>
            <ac:spMk id="11" creationId="{51A102DA-4F4E-474F-9E16-1E7F70764A16}"/>
          </ac:spMkLst>
        </pc:spChg>
        <pc:spChg chg="mod">
          <ac:chgData name="Weigel Stefan (PAR-EPS)" userId="fd3b2067-2981-4ad8-bf3a-d2e1004e4fa8" providerId="ADAL" clId="{12AB7024-58E6-498F-A5B7-4B04E7DB4731}" dt="2024-02-02T10:31:33.416" v="3"/>
          <ac:spMkLst>
            <pc:docMk/>
            <pc:sldMk cId="3064315074" sldId="413"/>
            <ac:spMk id="12" creationId="{00D4BB6A-0DD0-4B80-9845-0467B947A6BE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S)" userId="fd3b2067-2981-4ad8-bf3a-d2e1004e4fa8" providerId="ADAL" clId="{5C843503-A1E1-438D-989D-5B4429BAA24C}"/>
    <pc:docChg chg="undo custSel modSld">
      <pc:chgData name="Weigel Stefan (PAR-ES)" userId="fd3b2067-2981-4ad8-bf3a-d2e1004e4fa8" providerId="ADAL" clId="{5C843503-A1E1-438D-989D-5B4429BAA24C}" dt="2023-01-31T18:11:43.898" v="45" actId="20577"/>
      <pc:docMkLst>
        <pc:docMk/>
      </pc:docMkLst>
      <pc:sldChg chg="modSp mod">
        <pc:chgData name="Weigel Stefan (PAR-ES)" userId="fd3b2067-2981-4ad8-bf3a-d2e1004e4fa8" providerId="ADAL" clId="{5C843503-A1E1-438D-989D-5B4429BAA24C}" dt="2023-01-31T18:11:43.898" v="45" actId="20577"/>
        <pc:sldMkLst>
          <pc:docMk/>
          <pc:sldMk cId="3064315074" sldId="413"/>
        </pc:sldMkLst>
        <pc:spChg chg="mod">
          <ac:chgData name="Weigel Stefan (PAR-ES)" userId="fd3b2067-2981-4ad8-bf3a-d2e1004e4fa8" providerId="ADAL" clId="{5C843503-A1E1-438D-989D-5B4429BAA24C}" dt="2023-01-31T18:11:43.898" v="45" actId="20577"/>
          <ac:spMkLst>
            <pc:docMk/>
            <pc:sldMk cId="3064315074" sldId="413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C843503-A1E1-438D-989D-5B4429BAA24C}" dt="2023-01-31T18:11:29.071" v="43" actId="20577"/>
          <ac:spMkLst>
            <pc:docMk/>
            <pc:sldMk cId="3064315074" sldId="413"/>
            <ac:spMk id="11" creationId="{51A102DA-4F4E-474F-9E16-1E7F70764A16}"/>
          </ac:spMkLst>
        </pc:spChg>
        <pc:graphicFrameChg chg="mod">
          <ac:chgData name="Weigel Stefan (PAR-ES)" userId="fd3b2067-2981-4ad8-bf3a-d2e1004e4fa8" providerId="ADAL" clId="{5C843503-A1E1-438D-989D-5B4429BAA24C}" dt="2023-01-31T18:10:42.681" v="31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Weigel Stefan (PAR-EPS)" userId="fd3b2067-2981-4ad8-bf3a-d2e1004e4fa8" providerId="ADAL" clId="{F9C3AC55-1547-488B-9B24-47E14B9A958B}"/>
    <pc:docChg chg="modSld">
      <pc:chgData name="Weigel Stefan (PAR-EPS)" userId="fd3b2067-2981-4ad8-bf3a-d2e1004e4fa8" providerId="ADAL" clId="{F9C3AC55-1547-488B-9B24-47E14B9A958B}" dt="2024-04-25T07:36:56.827" v="19" actId="207"/>
      <pc:docMkLst>
        <pc:docMk/>
      </pc:docMkLst>
      <pc:sldChg chg="modSp mod">
        <pc:chgData name="Weigel Stefan (PAR-EPS)" userId="fd3b2067-2981-4ad8-bf3a-d2e1004e4fa8" providerId="ADAL" clId="{F9C3AC55-1547-488B-9B24-47E14B9A958B}" dt="2024-04-25T07:36:56.827" v="19" actId="207"/>
        <pc:sldMkLst>
          <pc:docMk/>
          <pc:sldMk cId="3064315074" sldId="413"/>
        </pc:sldMkLst>
        <pc:spChg chg="mod">
          <ac:chgData name="Weigel Stefan (PAR-EPS)" userId="fd3b2067-2981-4ad8-bf3a-d2e1004e4fa8" providerId="ADAL" clId="{F9C3AC55-1547-488B-9B24-47E14B9A958B}" dt="2024-04-25T07:36:31.230" v="13" actId="207"/>
          <ac:spMkLst>
            <pc:docMk/>
            <pc:sldMk cId="3064315074" sldId="413"/>
            <ac:spMk id="11" creationId="{51A102DA-4F4E-474F-9E16-1E7F70764A16}"/>
          </ac:spMkLst>
        </pc:spChg>
        <pc:spChg chg="mod">
          <ac:chgData name="Weigel Stefan (PAR-EPS)" userId="fd3b2067-2981-4ad8-bf3a-d2e1004e4fa8" providerId="ADAL" clId="{F9C3AC55-1547-488B-9B24-47E14B9A958B}" dt="2024-04-25T07:36:36.259" v="15" actId="1035"/>
          <ac:spMkLst>
            <pc:docMk/>
            <pc:sldMk cId="3064315074" sldId="413"/>
            <ac:spMk id="13" creationId="{CB2EBD8C-0882-42C3-B5F5-BA01B7BFF2C3}"/>
          </ac:spMkLst>
        </pc:spChg>
        <pc:graphicFrameChg chg="mod">
          <ac:chgData name="Weigel Stefan (PAR-EPS)" userId="fd3b2067-2981-4ad8-bf3a-d2e1004e4fa8" providerId="ADAL" clId="{F9C3AC55-1547-488B-9B24-47E14B9A958B}" dt="2024-04-25T07:36:56.827" v="19" actId="207"/>
          <ac:graphicFrameMkLst>
            <pc:docMk/>
            <pc:sldMk cId="3064315074" sldId="41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0F694D6-807D-4949-9503-515E89DD48AB}"/>
    <pc:docChg chg="delSld">
      <pc:chgData name="Meyer Raphael (PAR-ES)" userId="79615dfe-ed48-4e74-a40f-4f7b034c1c27" providerId="ADAL" clId="{10F694D6-807D-4949-9503-515E89DD48AB}" dt="2022-03-09T15:20:13.407" v="0" actId="47"/>
      <pc:docMkLst>
        <pc:docMk/>
      </pc:docMkLst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1214120989" sldId="414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10F694D6-807D-4949-9503-515E89DD48AB}" dt="2022-03-09T15:20:13.407" v="0" actId="47"/>
        <pc:sldMkLst>
          <pc:docMk/>
          <pc:sldMk cId="2150380132" sldId="416"/>
        </pc:sldMkLst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DCA374D4-1A61-4826-8B41-C24E9EA9E488}"/>
    <pc:docChg chg="modSld">
      <pc:chgData name="Weigel Stefan (PAR-EPS)" userId="fd3b2067-2981-4ad8-bf3a-d2e1004e4fa8" providerId="ADAL" clId="{DCA374D4-1A61-4826-8B41-C24E9EA9E488}" dt="2025-02-24T10:05:45.172" v="6" actId="27918"/>
      <pc:docMkLst>
        <pc:docMk/>
      </pc:docMkLst>
      <pc:sldChg chg="modSp mod">
        <pc:chgData name="Weigel Stefan (PAR-EPS)" userId="fd3b2067-2981-4ad8-bf3a-d2e1004e4fa8" providerId="ADAL" clId="{DCA374D4-1A61-4826-8B41-C24E9EA9E488}" dt="2025-02-24T10:05:45.172" v="6" actId="27918"/>
        <pc:sldMkLst>
          <pc:docMk/>
          <pc:sldMk cId="3064315074" sldId="413"/>
        </pc:sldMkLst>
        <pc:spChg chg="mod">
          <ac:chgData name="Weigel Stefan (PAR-EPS)" userId="fd3b2067-2981-4ad8-bf3a-d2e1004e4fa8" providerId="ADAL" clId="{DCA374D4-1A61-4826-8B41-C24E9EA9E488}" dt="2025-02-24T10:05:30.065" v="1" actId="20577"/>
          <ac:spMkLst>
            <pc:docMk/>
            <pc:sldMk cId="3064315074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Weigel Stefan (PAR-EPS)" userId="fd3b2067-2981-4ad8-bf3a-d2e1004e4fa8" providerId="ADAL" clId="{8B9B3A73-DD40-4E00-A50C-B0CA06AF5DCC}"/>
    <pc:docChg chg="modSld">
      <pc:chgData name="Weigel Stefan (PAR-EPS)" userId="fd3b2067-2981-4ad8-bf3a-d2e1004e4fa8" providerId="ADAL" clId="{8B9B3A73-DD40-4E00-A50C-B0CA06AF5DCC}" dt="2024-02-28T12:04:41.057" v="2" actId="27918"/>
      <pc:docMkLst>
        <pc:docMk/>
      </pc:docMkLst>
      <pc:sldChg chg="mod">
        <pc:chgData name="Weigel Stefan (PAR-EPS)" userId="fd3b2067-2981-4ad8-bf3a-d2e1004e4fa8" providerId="ADAL" clId="{8B9B3A73-DD40-4E00-A50C-B0CA06AF5DCC}" dt="2024-02-28T12:04:41.057" v="2" actId="27918"/>
        <pc:sldMkLst>
          <pc:docMk/>
          <pc:sldMk cId="3064315074" sldId="413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46359198157393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Treni viaggiatori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4-4E84-4ADB-9AD5-F422403FAF78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FTA (FI)</c:v>
                </c:pt>
                <c:pt idx="2">
                  <c:v>CFR Infrastructură (RO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DB AG (DE)</c:v>
                </c:pt>
                <c:pt idx="10">
                  <c:v>ÖBB (AT)</c:v>
                </c:pt>
                <c:pt idx="11">
                  <c:v>ProRail (NL)</c:v>
                </c:pt>
                <c:pt idx="12">
                  <c:v>FFS (CH)</c:v>
                </c:pt>
              </c:strCache>
            </c:strRef>
          </c:cat>
          <c:val>
            <c:numRef>
              <c:f>data!$M$3:$M$15</c:f>
              <c:numCache>
                <c:formatCode>0.00</c:formatCode>
                <c:ptCount val="13"/>
                <c:pt idx="0">
                  <c:v>9.4295560048984708</c:v>
                </c:pt>
                <c:pt idx="1">
                  <c:v>16.1484037564122</c:v>
                </c:pt>
                <c:pt idx="2">
                  <c:v>16.719168403461101</c:v>
                </c:pt>
                <c:pt idx="3">
                  <c:v>30.709126671842998</c:v>
                </c:pt>
                <c:pt idx="4">
                  <c:v>27.4756380578043</c:v>
                </c:pt>
                <c:pt idx="5">
                  <c:v>34.804228683023702</c:v>
                </c:pt>
                <c:pt idx="6">
                  <c:v>41.654444032546202</c:v>
                </c:pt>
                <c:pt idx="7">
                  <c:v>51.305829158672204</c:v>
                </c:pt>
                <c:pt idx="8">
                  <c:v>63.044588939120999</c:v>
                </c:pt>
                <c:pt idx="9">
                  <c:v>69.926545475980703</c:v>
                </c:pt>
                <c:pt idx="10">
                  <c:v>68.871666369792294</c:v>
                </c:pt>
                <c:pt idx="11">
                  <c:v>127.374980292171</c:v>
                </c:pt>
                <c:pt idx="12">
                  <c:v>137.86668745426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Treni merci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4E84-4ADB-9AD5-F422403FAF78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FTA (FI)</c:v>
                </c:pt>
                <c:pt idx="2">
                  <c:v>CFR Infrastructură (RO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DB AG (DE)</c:v>
                </c:pt>
                <c:pt idx="10">
                  <c:v>ÖBB (AT)</c:v>
                </c:pt>
                <c:pt idx="11">
                  <c:v>ProRail (NL)</c:v>
                </c:pt>
                <c:pt idx="12">
                  <c:v>FFS (CH)</c:v>
                </c:pt>
              </c:strCache>
            </c:strRef>
          </c:cat>
          <c:val>
            <c:numRef>
              <c:f>data!$N$3:$N$15</c:f>
              <c:numCache>
                <c:formatCode>0.00</c:formatCode>
                <c:ptCount val="13"/>
                <c:pt idx="0">
                  <c:v>6.96465696465697</c:v>
                </c:pt>
                <c:pt idx="1">
                  <c:v>5.8055327180722296</c:v>
                </c:pt>
                <c:pt idx="2">
                  <c:v>5.6141799856754799</c:v>
                </c:pt>
                <c:pt idx="3">
                  <c:v>4.3836666879672803</c:v>
                </c:pt>
                <c:pt idx="4">
                  <c:v>11.8222252006428</c:v>
                </c:pt>
                <c:pt idx="5">
                  <c:v>10.328157542713001</c:v>
                </c:pt>
                <c:pt idx="6">
                  <c:v>10.2719945141008</c:v>
                </c:pt>
                <c:pt idx="7">
                  <c:v>8.1897634329207101</c:v>
                </c:pt>
                <c:pt idx="8">
                  <c:v>6.9465499091667899</c:v>
                </c:pt>
                <c:pt idx="9">
                  <c:v>21.569365893914998</c:v>
                </c:pt>
                <c:pt idx="10">
                  <c:v>24.9223060124122</c:v>
                </c:pt>
                <c:pt idx="11">
                  <c:v>9.5943718946092904</c:v>
                </c:pt>
                <c:pt idx="12">
                  <c:v>23.05907038158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638312256516215"/>
          <c:y val="0.88185825591518729"/>
          <c:w val="0.27623831443418145"/>
          <c:h val="5.4723184121952026E-2"/>
        </c:manualLayout>
      </c:layout>
      <c:overlay val="0"/>
      <c:txPr>
        <a:bodyPr/>
        <a:lstStyle/>
        <a:p>
          <a:pPr>
            <a:defRPr sz="1100">
              <a:solidFill>
                <a:schemeClr val="tx2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564</cdr:x>
      <cdr:y>0.0141</cdr:y>
    </cdr:from>
    <cdr:to>
      <cdr:x>0.94931</cdr:x>
      <cdr:y>0.06743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10046768" y="63972"/>
          <a:ext cx="1231675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it-CH" sz="1100" noProof="0" dirty="0">
              <a:solidFill>
                <a:schemeClr val="tx2"/>
              </a:solidFill>
            </a:rPr>
            <a:t>Frequenza dei treni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Sfruttamento della rete in Europa nel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50373315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e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UIC,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umero medio di treni per giorno e tratta sull’infrastruttura ferroviaria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695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064315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www.w3.org/XML/1998/namespace"/>
    <ds:schemaRef ds:uri="http://purl.org/dc/terms/"/>
    <ds:schemaRef ds:uri="http://schemas.microsoft.com/office/2006/documentManagement/types"/>
    <ds:schemaRef ds:uri="2f5c8543-cf23-4718-a3b8-32b0a91d511a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96e82a89-ba48-4728-b345-cf206dbec8f1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B64491C0-8ED5-49CE-8CF7-4CB454E3229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fruttamento della rete in Europa nel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fruttamento della rete in Europa nel 2023.</dc:title>
  <dc:creator>Meyer Raphael (KOM-PGA-VSF)</dc:creator>
  <cp:lastModifiedBy>Stefan Weigel (PAR-EPS)</cp:lastModifiedBy>
  <cp:revision>24</cp:revision>
  <dcterms:created xsi:type="dcterms:W3CDTF">2020-09-30T11:00:09Z</dcterms:created>
  <dcterms:modified xsi:type="dcterms:W3CDTF">2025-02-24T13:0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